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3700" r:id="rId2"/>
    <p:sldMasterId id="2147483717" r:id="rId3"/>
    <p:sldMasterId id="2147483734" r:id="rId4"/>
    <p:sldMasterId id="2147483751" r:id="rId5"/>
  </p:sldMasterIdLst>
  <p:notesMasterIdLst>
    <p:notesMasterId r:id="rId12"/>
  </p:notesMasterIdLst>
  <p:sldIdLst>
    <p:sldId id="256" r:id="rId6"/>
    <p:sldId id="257" r:id="rId7"/>
    <p:sldId id="259" r:id="rId8"/>
    <p:sldId id="260" r:id="rId9"/>
    <p:sldId id="263" r:id="rId10"/>
    <p:sldId id="262" r:id="rId11"/>
  </p:sldIdLst>
  <p:sldSz cx="9906000" cy="6858000" type="A4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2" autoAdjust="0"/>
    <p:restoredTop sz="94660"/>
  </p:normalViewPr>
  <p:slideViewPr>
    <p:cSldViewPr snapToGrid="0">
      <p:cViewPr>
        <p:scale>
          <a:sx n="120" d="100"/>
          <a:sy n="120" d="100"/>
        </p:scale>
        <p:origin x="804" y="3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F3B210-A194-42EA-8799-7B16B7BC34A7}" type="datetimeFigureOut">
              <a:rPr lang="de-DE" smtClean="0"/>
              <a:t>23.10.2017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F61405-C8C7-41F5-98E8-C281AEC49B6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0597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F61405-C8C7-41F5-98E8-C281AEC49B6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894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4302617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3076"/>
            <a:ext cx="9906000" cy="686107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" y="10781"/>
            <a:ext cx="9906001" cy="684631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1000"/>
                </a:schemeClr>
              </a:gs>
              <a:gs pos="39000">
                <a:schemeClr val="tx2">
                  <a:alpha val="0"/>
                </a:schemeClr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" name="Rectangle 1"/>
          <p:cNvSpPr>
            <a:spLocks noChangeAspect="1"/>
          </p:cNvSpPr>
          <p:nvPr/>
        </p:nvSpPr>
        <p:spPr>
          <a:xfrm>
            <a:off x="491722" y="777241"/>
            <a:ext cx="7318574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795127" y="2240280"/>
            <a:ext cx="673608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795128" y="3220754"/>
            <a:ext cx="673608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9646" y="5296368"/>
            <a:ext cx="106984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27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/>
          <p:nvPr/>
        </p:nvCxnSpPr>
        <p:spPr>
          <a:xfrm>
            <a:off x="2378714" y="863618"/>
            <a:ext cx="6864763" cy="0"/>
          </a:xfrm>
          <a:prstGeom prst="line">
            <a:avLst/>
          </a:prstGeom>
          <a:ln w="12700">
            <a:solidFill>
              <a:schemeClr val="tx2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378714" y="1487687"/>
            <a:ext cx="6864763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378714" y="2106652"/>
            <a:ext cx="6864763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2378714" y="2725617"/>
            <a:ext cx="6864763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522369" y="863619"/>
            <a:ext cx="258752" cy="624069"/>
          </a:xfrm>
          <a:prstGeom prst="rect">
            <a:avLst/>
          </a:prstGeom>
          <a:noFill/>
        </p:spPr>
        <p:txBody>
          <a:bodyPr wrap="square" lIns="0" tIns="35677" rIns="0" bIns="0" rtlCol="0" anchor="ctr">
            <a:noAutofit/>
          </a:bodyPr>
          <a:lstStyle/>
          <a:p>
            <a:pPr algn="ctr">
              <a:lnSpc>
                <a:spcPct val="85000"/>
              </a:lnSpc>
              <a:spcAft>
                <a:spcPts val="585"/>
              </a:spcAft>
              <a:buClr>
                <a:schemeClr val="accent2"/>
              </a:buClr>
              <a:buSzPct val="70000"/>
            </a:pPr>
            <a:r>
              <a:rPr lang="en-GB" sz="2907" dirty="0" smtClean="0">
                <a:solidFill>
                  <a:schemeClr val="accent2"/>
                </a:solidFill>
                <a:latin typeface="EYInterstate" panose="02000503020000020004" pitchFamily="2" charset="0"/>
              </a:rPr>
              <a:t>1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522369" y="1487689"/>
            <a:ext cx="258752" cy="624069"/>
          </a:xfrm>
          <a:prstGeom prst="rect">
            <a:avLst/>
          </a:prstGeom>
          <a:noFill/>
        </p:spPr>
        <p:txBody>
          <a:bodyPr wrap="square" lIns="0" tIns="35677" rIns="0" bIns="0" rtlCol="0" anchor="ctr">
            <a:noAutofit/>
          </a:bodyPr>
          <a:lstStyle/>
          <a:p>
            <a:pPr algn="ctr">
              <a:lnSpc>
                <a:spcPct val="85000"/>
              </a:lnSpc>
              <a:spcAft>
                <a:spcPts val="585"/>
              </a:spcAft>
              <a:buClr>
                <a:schemeClr val="accent2"/>
              </a:buClr>
              <a:buSzPct val="70000"/>
            </a:pPr>
            <a:r>
              <a:rPr lang="en-GB" sz="2907" dirty="0" smtClean="0">
                <a:solidFill>
                  <a:schemeClr val="accent2"/>
                </a:solidFill>
                <a:latin typeface="EYInterstate" panose="02000503020000020004" pitchFamily="2" charset="0"/>
              </a:rPr>
              <a:t>2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522369" y="2111757"/>
            <a:ext cx="258752" cy="624069"/>
          </a:xfrm>
          <a:prstGeom prst="rect">
            <a:avLst/>
          </a:prstGeom>
          <a:noFill/>
        </p:spPr>
        <p:txBody>
          <a:bodyPr wrap="square" lIns="0" tIns="35677" rIns="0" bIns="0" rtlCol="0" anchor="ctr">
            <a:noAutofit/>
          </a:bodyPr>
          <a:lstStyle/>
          <a:p>
            <a:pPr algn="ctr">
              <a:lnSpc>
                <a:spcPct val="85000"/>
              </a:lnSpc>
              <a:spcAft>
                <a:spcPts val="585"/>
              </a:spcAft>
              <a:buClr>
                <a:schemeClr val="accent2"/>
              </a:buClr>
              <a:buSzPct val="70000"/>
            </a:pPr>
            <a:r>
              <a:rPr lang="en-GB" sz="2907" dirty="0" smtClean="0">
                <a:solidFill>
                  <a:schemeClr val="accent2"/>
                </a:solidFill>
                <a:latin typeface="EYInterstate" panose="02000503020000020004" pitchFamily="2" charset="0"/>
              </a:rPr>
              <a:t>3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2378714" y="3344582"/>
            <a:ext cx="6864763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2378714" y="3963547"/>
            <a:ext cx="6864763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2378714" y="4582512"/>
            <a:ext cx="6864763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522369" y="2735825"/>
            <a:ext cx="258752" cy="594353"/>
          </a:xfrm>
          <a:prstGeom prst="rect">
            <a:avLst/>
          </a:prstGeom>
          <a:noFill/>
        </p:spPr>
        <p:txBody>
          <a:bodyPr wrap="square" lIns="0" tIns="35677" rIns="0" bIns="0" rtlCol="0" anchor="ctr">
            <a:noAutofit/>
          </a:bodyPr>
          <a:lstStyle/>
          <a:p>
            <a:pPr algn="ctr">
              <a:lnSpc>
                <a:spcPct val="85000"/>
              </a:lnSpc>
              <a:spcAft>
                <a:spcPts val="585"/>
              </a:spcAft>
              <a:buClr>
                <a:schemeClr val="accent2"/>
              </a:buClr>
              <a:buSzPct val="70000"/>
            </a:pPr>
            <a:r>
              <a:rPr lang="en-GB" sz="2907" dirty="0" smtClean="0">
                <a:solidFill>
                  <a:schemeClr val="accent2"/>
                </a:solidFill>
                <a:latin typeface="EYInterstate" panose="02000503020000020004" pitchFamily="2" charset="0"/>
              </a:rPr>
              <a:t>4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522369" y="3330179"/>
            <a:ext cx="258752" cy="624069"/>
          </a:xfrm>
          <a:prstGeom prst="rect">
            <a:avLst/>
          </a:prstGeom>
          <a:noFill/>
        </p:spPr>
        <p:txBody>
          <a:bodyPr wrap="square" lIns="0" tIns="35677" rIns="0" bIns="0" rtlCol="0" anchor="ctr">
            <a:noAutofit/>
          </a:bodyPr>
          <a:lstStyle/>
          <a:p>
            <a:pPr algn="ctr">
              <a:lnSpc>
                <a:spcPct val="85000"/>
              </a:lnSpc>
              <a:spcAft>
                <a:spcPts val="585"/>
              </a:spcAft>
              <a:buClr>
                <a:schemeClr val="accent2"/>
              </a:buClr>
              <a:buSzPct val="70000"/>
            </a:pPr>
            <a:r>
              <a:rPr lang="en-GB" sz="2907" dirty="0" smtClean="0">
                <a:solidFill>
                  <a:schemeClr val="accent2"/>
                </a:solidFill>
                <a:latin typeface="EYInterstate" panose="02000503020000020004" pitchFamily="2" charset="0"/>
              </a:rPr>
              <a:t>5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522369" y="3954247"/>
            <a:ext cx="258752" cy="624069"/>
          </a:xfrm>
          <a:prstGeom prst="rect">
            <a:avLst/>
          </a:prstGeom>
          <a:noFill/>
        </p:spPr>
        <p:txBody>
          <a:bodyPr wrap="square" lIns="0" tIns="35677" rIns="0" bIns="0" rtlCol="0" anchor="ctr">
            <a:noAutofit/>
          </a:bodyPr>
          <a:lstStyle/>
          <a:p>
            <a:pPr algn="ctr">
              <a:lnSpc>
                <a:spcPct val="85000"/>
              </a:lnSpc>
              <a:spcAft>
                <a:spcPts val="585"/>
              </a:spcAft>
              <a:buClr>
                <a:schemeClr val="accent2"/>
              </a:buClr>
              <a:buSzPct val="70000"/>
            </a:pPr>
            <a:r>
              <a:rPr lang="en-GB" sz="2907" dirty="0" smtClean="0">
                <a:solidFill>
                  <a:schemeClr val="accent2"/>
                </a:solidFill>
                <a:latin typeface="EYInterstate" panose="02000503020000020004" pitchFamily="2" charset="0"/>
              </a:rPr>
              <a:t>6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70603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TextBox 27"/>
          <p:cNvSpPr txBox="1"/>
          <p:nvPr/>
        </p:nvSpPr>
        <p:spPr>
          <a:xfrm rot="16200000">
            <a:off x="-2605116" y="2929990"/>
            <a:ext cx="6858000" cy="998020"/>
          </a:xfrm>
          <a:prstGeom prst="rect">
            <a:avLst/>
          </a:prstGeom>
          <a:noFill/>
        </p:spPr>
        <p:txBody>
          <a:bodyPr wrap="square" lIns="0" tIns="35677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585"/>
              </a:spcAft>
              <a:buClr>
                <a:schemeClr val="accent2"/>
              </a:buClr>
              <a:buSzPct val="70000"/>
            </a:pPr>
            <a:r>
              <a:rPr lang="en-GB" sz="7354" b="1" dirty="0" smtClean="0">
                <a:solidFill>
                  <a:schemeClr val="tx2"/>
                </a:solidFill>
                <a:latin typeface="EYInterstate" panose="02000503020000020004" pitchFamily="2" charset="0"/>
              </a:rPr>
              <a:t>CONTENTS</a:t>
            </a:r>
          </a:p>
        </p:txBody>
      </p:sp>
      <p:sp>
        <p:nvSpPr>
          <p:cNvPr id="38" name="Text Placeholder 37"/>
          <p:cNvSpPr>
            <a:spLocks noGrp="1"/>
          </p:cNvSpPr>
          <p:nvPr>
            <p:ph type="body" sz="quarter" idx="10" hasCustomPrompt="1"/>
          </p:nvPr>
        </p:nvSpPr>
        <p:spPr>
          <a:xfrm>
            <a:off x="2924776" y="945936"/>
            <a:ext cx="6318702" cy="459432"/>
          </a:xfrm>
        </p:spPr>
        <p:txBody>
          <a:bodyPr anchor="ctr"/>
          <a:lstStyle>
            <a:lvl1pPr marL="0" indent="0">
              <a:buNone/>
              <a:defRPr sz="1967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40" name="Text Placehold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2924776" y="1564061"/>
            <a:ext cx="6318702" cy="459432"/>
          </a:xfrm>
        </p:spPr>
        <p:txBody>
          <a:bodyPr anchor="ctr"/>
          <a:lstStyle>
            <a:lvl1pPr marL="0" indent="0">
              <a:buNone/>
              <a:defRPr sz="1967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41" name="Text Placeholder 37"/>
          <p:cNvSpPr>
            <a:spLocks noGrp="1"/>
          </p:cNvSpPr>
          <p:nvPr>
            <p:ph type="body" sz="quarter" idx="12" hasCustomPrompt="1"/>
          </p:nvPr>
        </p:nvSpPr>
        <p:spPr>
          <a:xfrm>
            <a:off x="2924776" y="2182188"/>
            <a:ext cx="6318702" cy="459432"/>
          </a:xfrm>
        </p:spPr>
        <p:txBody>
          <a:bodyPr anchor="ctr"/>
          <a:lstStyle>
            <a:lvl1pPr marL="0" indent="0">
              <a:buNone/>
              <a:defRPr sz="1967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42" name="Text Placeholder 37"/>
          <p:cNvSpPr>
            <a:spLocks noGrp="1"/>
          </p:cNvSpPr>
          <p:nvPr>
            <p:ph type="body" sz="quarter" idx="13" hasCustomPrompt="1"/>
          </p:nvPr>
        </p:nvSpPr>
        <p:spPr>
          <a:xfrm>
            <a:off x="2924776" y="2800313"/>
            <a:ext cx="6318702" cy="459432"/>
          </a:xfrm>
        </p:spPr>
        <p:txBody>
          <a:bodyPr anchor="ctr"/>
          <a:lstStyle>
            <a:lvl1pPr marL="0" indent="0">
              <a:buNone/>
              <a:defRPr sz="1967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43" name="Text Placehold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2924776" y="3418439"/>
            <a:ext cx="6318702" cy="459432"/>
          </a:xfrm>
        </p:spPr>
        <p:txBody>
          <a:bodyPr anchor="ctr"/>
          <a:lstStyle>
            <a:lvl1pPr marL="0" indent="0">
              <a:buNone/>
              <a:defRPr sz="1967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44" name="Text Placeholder 37"/>
          <p:cNvSpPr>
            <a:spLocks noGrp="1"/>
          </p:cNvSpPr>
          <p:nvPr>
            <p:ph type="body" sz="quarter" idx="15" hasCustomPrompt="1"/>
          </p:nvPr>
        </p:nvSpPr>
        <p:spPr>
          <a:xfrm>
            <a:off x="2924776" y="4036563"/>
            <a:ext cx="6318702" cy="459432"/>
          </a:xfrm>
        </p:spPr>
        <p:txBody>
          <a:bodyPr anchor="ctr"/>
          <a:lstStyle>
            <a:lvl1pPr marL="0" indent="0">
              <a:buNone/>
              <a:defRPr sz="1967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522369" y="4578316"/>
            <a:ext cx="258752" cy="624069"/>
          </a:xfrm>
          <a:prstGeom prst="rect">
            <a:avLst/>
          </a:prstGeom>
          <a:noFill/>
        </p:spPr>
        <p:txBody>
          <a:bodyPr wrap="square" lIns="0" tIns="35677" rIns="0" bIns="0" rtlCol="0" anchor="ctr">
            <a:noAutofit/>
          </a:bodyPr>
          <a:lstStyle/>
          <a:p>
            <a:pPr algn="ctr">
              <a:lnSpc>
                <a:spcPct val="85000"/>
              </a:lnSpc>
              <a:spcAft>
                <a:spcPts val="585"/>
              </a:spcAft>
              <a:buClr>
                <a:schemeClr val="accent2"/>
              </a:buClr>
              <a:buSzPct val="70000"/>
            </a:pPr>
            <a:r>
              <a:rPr lang="en-GB" sz="2907" dirty="0" smtClean="0">
                <a:solidFill>
                  <a:schemeClr val="accent2"/>
                </a:solidFill>
                <a:latin typeface="EYInterstate" panose="02000503020000020004" pitchFamily="2" charset="0"/>
              </a:rPr>
              <a:t>7</a:t>
            </a:r>
          </a:p>
        </p:txBody>
      </p:sp>
      <p:sp>
        <p:nvSpPr>
          <p:cNvPr id="26" name="Text Placeholder 37"/>
          <p:cNvSpPr>
            <a:spLocks noGrp="1"/>
          </p:cNvSpPr>
          <p:nvPr>
            <p:ph type="body" sz="quarter" idx="16" hasCustomPrompt="1"/>
          </p:nvPr>
        </p:nvSpPr>
        <p:spPr>
          <a:xfrm>
            <a:off x="2924775" y="4669856"/>
            <a:ext cx="6318702" cy="459432"/>
          </a:xfrm>
        </p:spPr>
        <p:txBody>
          <a:bodyPr anchor="ctr"/>
          <a:lstStyle>
            <a:lvl1pPr marL="0" indent="0">
              <a:buNone/>
              <a:defRPr sz="1967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cxnSp>
        <p:nvCxnSpPr>
          <p:cNvPr id="27" name="Straight Connector 26"/>
          <p:cNvCxnSpPr/>
          <p:nvPr/>
        </p:nvCxnSpPr>
        <p:spPr>
          <a:xfrm>
            <a:off x="2384947" y="5201477"/>
            <a:ext cx="6864763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2522369" y="5196372"/>
            <a:ext cx="258752" cy="624069"/>
          </a:xfrm>
          <a:prstGeom prst="rect">
            <a:avLst/>
          </a:prstGeom>
          <a:noFill/>
        </p:spPr>
        <p:txBody>
          <a:bodyPr wrap="square" lIns="0" tIns="35677" rIns="0" bIns="0" rtlCol="0" anchor="ctr">
            <a:noAutofit/>
          </a:bodyPr>
          <a:lstStyle/>
          <a:p>
            <a:pPr algn="ctr">
              <a:lnSpc>
                <a:spcPct val="85000"/>
              </a:lnSpc>
              <a:spcAft>
                <a:spcPts val="585"/>
              </a:spcAft>
              <a:buClr>
                <a:schemeClr val="accent2"/>
              </a:buClr>
              <a:buSzPct val="70000"/>
            </a:pPr>
            <a:r>
              <a:rPr lang="en-GB" sz="2907" dirty="0" smtClean="0">
                <a:solidFill>
                  <a:schemeClr val="accent2"/>
                </a:solidFill>
                <a:latin typeface="EYInterstate" panose="02000503020000020004" pitchFamily="2" charset="0"/>
              </a:rPr>
              <a:t>8</a:t>
            </a:r>
          </a:p>
        </p:txBody>
      </p:sp>
      <p:sp>
        <p:nvSpPr>
          <p:cNvPr id="30" name="Text Placeholder 37"/>
          <p:cNvSpPr>
            <a:spLocks noGrp="1"/>
          </p:cNvSpPr>
          <p:nvPr>
            <p:ph type="body" sz="quarter" idx="17" hasCustomPrompt="1"/>
          </p:nvPr>
        </p:nvSpPr>
        <p:spPr>
          <a:xfrm>
            <a:off x="2931008" y="5272817"/>
            <a:ext cx="6318702" cy="459432"/>
          </a:xfrm>
        </p:spPr>
        <p:txBody>
          <a:bodyPr anchor="ctr"/>
          <a:lstStyle>
            <a:lvl1pPr marL="0" indent="0">
              <a:buNone/>
              <a:defRPr sz="1967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2384947" y="5820440"/>
            <a:ext cx="6864763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1267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/>
          <p:nvPr/>
        </p:nvCxnSpPr>
        <p:spPr>
          <a:xfrm>
            <a:off x="2378714" y="1086638"/>
            <a:ext cx="6864763" cy="0"/>
          </a:xfrm>
          <a:prstGeom prst="line">
            <a:avLst/>
          </a:prstGeom>
          <a:ln w="12700">
            <a:solidFill>
              <a:schemeClr val="tx2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378714" y="1710707"/>
            <a:ext cx="6864763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378714" y="2329672"/>
            <a:ext cx="6864763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2378714" y="2948637"/>
            <a:ext cx="6864763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522369" y="1086639"/>
            <a:ext cx="258752" cy="624069"/>
          </a:xfrm>
          <a:prstGeom prst="rect">
            <a:avLst/>
          </a:prstGeom>
          <a:noFill/>
        </p:spPr>
        <p:txBody>
          <a:bodyPr wrap="square" lIns="0" tIns="35677" rIns="0" bIns="0" rtlCol="0" anchor="ctr">
            <a:noAutofit/>
          </a:bodyPr>
          <a:lstStyle/>
          <a:p>
            <a:pPr algn="ctr">
              <a:lnSpc>
                <a:spcPct val="85000"/>
              </a:lnSpc>
              <a:spcAft>
                <a:spcPts val="585"/>
              </a:spcAft>
              <a:buClr>
                <a:schemeClr val="accent2"/>
              </a:buClr>
              <a:buSzPct val="70000"/>
            </a:pPr>
            <a:r>
              <a:rPr lang="en-GB" sz="2907" dirty="0" smtClean="0">
                <a:solidFill>
                  <a:schemeClr val="accent2"/>
                </a:solidFill>
                <a:latin typeface="EYInterstate" panose="02000503020000020004" pitchFamily="2" charset="0"/>
              </a:rPr>
              <a:t>2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522369" y="1710709"/>
            <a:ext cx="258752" cy="624069"/>
          </a:xfrm>
          <a:prstGeom prst="rect">
            <a:avLst/>
          </a:prstGeom>
          <a:noFill/>
        </p:spPr>
        <p:txBody>
          <a:bodyPr wrap="square" lIns="0" tIns="35677" rIns="0" bIns="0" rtlCol="0" anchor="ctr">
            <a:noAutofit/>
          </a:bodyPr>
          <a:lstStyle/>
          <a:p>
            <a:pPr algn="ctr">
              <a:lnSpc>
                <a:spcPct val="85000"/>
              </a:lnSpc>
              <a:spcAft>
                <a:spcPts val="585"/>
              </a:spcAft>
              <a:buClr>
                <a:schemeClr val="accent2"/>
              </a:buClr>
              <a:buSzPct val="70000"/>
            </a:pPr>
            <a:r>
              <a:rPr lang="en-GB" sz="2907" dirty="0" smtClean="0">
                <a:solidFill>
                  <a:schemeClr val="accent2"/>
                </a:solidFill>
                <a:latin typeface="EYInterstate" panose="02000503020000020004" pitchFamily="2" charset="0"/>
              </a:rPr>
              <a:t>3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522369" y="2334777"/>
            <a:ext cx="258752" cy="624069"/>
          </a:xfrm>
          <a:prstGeom prst="rect">
            <a:avLst/>
          </a:prstGeom>
          <a:noFill/>
        </p:spPr>
        <p:txBody>
          <a:bodyPr wrap="square" lIns="0" tIns="35677" rIns="0" bIns="0" rtlCol="0" anchor="ctr">
            <a:noAutofit/>
          </a:bodyPr>
          <a:lstStyle/>
          <a:p>
            <a:pPr algn="ctr">
              <a:lnSpc>
                <a:spcPct val="85000"/>
              </a:lnSpc>
              <a:spcAft>
                <a:spcPts val="585"/>
              </a:spcAft>
              <a:buClr>
                <a:schemeClr val="accent2"/>
              </a:buClr>
              <a:buSzPct val="70000"/>
            </a:pPr>
            <a:r>
              <a:rPr lang="en-GB" sz="2907" dirty="0" smtClean="0">
                <a:solidFill>
                  <a:schemeClr val="accent2"/>
                </a:solidFill>
                <a:latin typeface="EYInterstate" panose="02000503020000020004" pitchFamily="2" charset="0"/>
              </a:rPr>
              <a:t>4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2378714" y="3567602"/>
            <a:ext cx="6864763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522369" y="2958845"/>
            <a:ext cx="258752" cy="594353"/>
          </a:xfrm>
          <a:prstGeom prst="rect">
            <a:avLst/>
          </a:prstGeom>
          <a:noFill/>
        </p:spPr>
        <p:txBody>
          <a:bodyPr wrap="square" lIns="0" tIns="35677" rIns="0" bIns="0" rtlCol="0" anchor="ctr">
            <a:noAutofit/>
          </a:bodyPr>
          <a:lstStyle/>
          <a:p>
            <a:pPr algn="ctr">
              <a:lnSpc>
                <a:spcPct val="85000"/>
              </a:lnSpc>
              <a:spcAft>
                <a:spcPts val="585"/>
              </a:spcAft>
              <a:buClr>
                <a:schemeClr val="accent2"/>
              </a:buClr>
              <a:buSzPct val="70000"/>
            </a:pPr>
            <a:r>
              <a:rPr lang="en-GB" sz="2907" dirty="0" smtClean="0">
                <a:solidFill>
                  <a:schemeClr val="accent2"/>
                </a:solidFill>
                <a:latin typeface="EYInterstate" panose="02000503020000020004" pitchFamily="2" charset="0"/>
              </a:rPr>
              <a:t>5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70603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TextBox 27"/>
          <p:cNvSpPr txBox="1"/>
          <p:nvPr/>
        </p:nvSpPr>
        <p:spPr>
          <a:xfrm rot="16200000">
            <a:off x="-2605116" y="2929990"/>
            <a:ext cx="6858000" cy="998020"/>
          </a:xfrm>
          <a:prstGeom prst="rect">
            <a:avLst/>
          </a:prstGeom>
          <a:noFill/>
        </p:spPr>
        <p:txBody>
          <a:bodyPr wrap="square" lIns="0" tIns="35677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585"/>
              </a:spcAft>
              <a:buClr>
                <a:schemeClr val="accent2"/>
              </a:buClr>
              <a:buSzPct val="70000"/>
            </a:pPr>
            <a:r>
              <a:rPr lang="en-GB" sz="7354" b="1" dirty="0" smtClean="0">
                <a:solidFill>
                  <a:schemeClr val="tx2"/>
                </a:solidFill>
                <a:latin typeface="EYInterstate" panose="02000503020000020004" pitchFamily="2" charset="0"/>
              </a:rPr>
              <a:t>CONTENTS</a:t>
            </a:r>
          </a:p>
        </p:txBody>
      </p:sp>
      <p:sp>
        <p:nvSpPr>
          <p:cNvPr id="38" name="Text Placeholder 37"/>
          <p:cNvSpPr>
            <a:spLocks noGrp="1"/>
          </p:cNvSpPr>
          <p:nvPr>
            <p:ph type="body" sz="quarter" idx="10" hasCustomPrompt="1"/>
          </p:nvPr>
        </p:nvSpPr>
        <p:spPr>
          <a:xfrm>
            <a:off x="2924776" y="1168956"/>
            <a:ext cx="6318702" cy="459432"/>
          </a:xfrm>
        </p:spPr>
        <p:txBody>
          <a:bodyPr anchor="ctr"/>
          <a:lstStyle>
            <a:lvl1pPr marL="0" indent="0">
              <a:buNone/>
              <a:defRPr sz="1967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40" name="Text Placehold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2924776" y="1787081"/>
            <a:ext cx="6318702" cy="459432"/>
          </a:xfrm>
        </p:spPr>
        <p:txBody>
          <a:bodyPr anchor="ctr"/>
          <a:lstStyle>
            <a:lvl1pPr marL="0" indent="0">
              <a:buNone/>
              <a:defRPr sz="1967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41" name="Text Placeholder 37"/>
          <p:cNvSpPr>
            <a:spLocks noGrp="1"/>
          </p:cNvSpPr>
          <p:nvPr>
            <p:ph type="body" sz="quarter" idx="12" hasCustomPrompt="1"/>
          </p:nvPr>
        </p:nvSpPr>
        <p:spPr>
          <a:xfrm>
            <a:off x="2924776" y="2405208"/>
            <a:ext cx="6318702" cy="459432"/>
          </a:xfrm>
        </p:spPr>
        <p:txBody>
          <a:bodyPr anchor="ctr"/>
          <a:lstStyle>
            <a:lvl1pPr marL="0" indent="0">
              <a:buNone/>
              <a:defRPr sz="1967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42" name="Text Placeholder 37"/>
          <p:cNvSpPr>
            <a:spLocks noGrp="1"/>
          </p:cNvSpPr>
          <p:nvPr>
            <p:ph type="body" sz="quarter" idx="13" hasCustomPrompt="1"/>
          </p:nvPr>
        </p:nvSpPr>
        <p:spPr>
          <a:xfrm>
            <a:off x="2924776" y="3023333"/>
            <a:ext cx="6318702" cy="459432"/>
          </a:xfrm>
        </p:spPr>
        <p:txBody>
          <a:bodyPr anchor="ctr"/>
          <a:lstStyle>
            <a:lvl1pPr marL="0" indent="0">
              <a:buNone/>
              <a:defRPr sz="1967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2384947" y="503264"/>
            <a:ext cx="6864763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2522369" y="498159"/>
            <a:ext cx="258752" cy="624069"/>
          </a:xfrm>
          <a:prstGeom prst="rect">
            <a:avLst/>
          </a:prstGeom>
          <a:noFill/>
        </p:spPr>
        <p:txBody>
          <a:bodyPr wrap="square" lIns="0" tIns="35677" rIns="0" bIns="0" rtlCol="0" anchor="ctr">
            <a:noAutofit/>
          </a:bodyPr>
          <a:lstStyle/>
          <a:p>
            <a:pPr algn="ctr">
              <a:lnSpc>
                <a:spcPct val="85000"/>
              </a:lnSpc>
              <a:spcAft>
                <a:spcPts val="585"/>
              </a:spcAft>
              <a:buClr>
                <a:schemeClr val="accent2"/>
              </a:buClr>
              <a:buSzPct val="70000"/>
            </a:pPr>
            <a:r>
              <a:rPr lang="en-GB" sz="2907" dirty="0" smtClean="0">
                <a:solidFill>
                  <a:schemeClr val="accent2"/>
                </a:solidFill>
                <a:latin typeface="EYInterstate" panose="02000503020000020004" pitchFamily="2" charset="0"/>
              </a:rPr>
              <a:t>1</a:t>
            </a:r>
          </a:p>
        </p:txBody>
      </p:sp>
      <p:sp>
        <p:nvSpPr>
          <p:cNvPr id="34" name="Text Placeholder 37"/>
          <p:cNvSpPr>
            <a:spLocks noGrp="1"/>
          </p:cNvSpPr>
          <p:nvPr>
            <p:ph type="body" sz="quarter" idx="18" hasCustomPrompt="1"/>
          </p:nvPr>
        </p:nvSpPr>
        <p:spPr>
          <a:xfrm>
            <a:off x="2931008" y="574604"/>
            <a:ext cx="6318702" cy="459432"/>
          </a:xfrm>
        </p:spPr>
        <p:txBody>
          <a:bodyPr anchor="ctr"/>
          <a:lstStyle>
            <a:lvl1pPr marL="0" indent="0">
              <a:buNone/>
              <a:defRPr sz="1967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2384947" y="1122227"/>
            <a:ext cx="6864763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0077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0758" y="5340096"/>
            <a:ext cx="1069848" cy="1156968"/>
          </a:xfrm>
          <a:prstGeom prst="rect">
            <a:avLst/>
          </a:prstGeom>
        </p:spPr>
      </p:pic>
      <p:sp>
        <p:nvSpPr>
          <p:cNvPr id="10" name="Rectangle 1"/>
          <p:cNvSpPr>
            <a:spLocks noChangeAspect="1"/>
          </p:cNvSpPr>
          <p:nvPr/>
        </p:nvSpPr>
        <p:spPr>
          <a:xfrm>
            <a:off x="2093847" y="777241"/>
            <a:ext cx="7318574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397251" y="2240280"/>
            <a:ext cx="673608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397252" y="3220754"/>
            <a:ext cx="673608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2200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7076" y="2405084"/>
            <a:ext cx="9913076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646464"/>
                </a:solidFill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56688" y="777600"/>
            <a:ext cx="5984689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56688" y="1753200"/>
            <a:ext cx="5984689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10" name="Picture 9" descr="EY_Logo2.e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456689" y="5754254"/>
            <a:ext cx="1071582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0372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425599"/>
            <a:ext cx="89154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9979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425599"/>
            <a:ext cx="89154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7285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425599"/>
            <a:ext cx="89154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0894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7488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9382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426465"/>
            <a:ext cx="437515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426465"/>
            <a:ext cx="437515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1424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01600" y="5952000"/>
            <a:ext cx="1612900" cy="144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 rot="5400000">
            <a:off x="777983" y="5158682"/>
            <a:ext cx="1728000" cy="14503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 dirty="0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151" t="8287" r="17768" b="66952"/>
          <a:stretch/>
        </p:blipFill>
        <p:spPr>
          <a:xfrm rot="16200000">
            <a:off x="-2175596" y="2178698"/>
            <a:ext cx="5788106" cy="143691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 rot="16200000">
            <a:off x="-2681318" y="2394992"/>
            <a:ext cx="6858000" cy="979563"/>
          </a:xfrm>
          <a:prstGeom prst="rect">
            <a:avLst/>
          </a:prstGeom>
          <a:noFill/>
        </p:spPr>
        <p:txBody>
          <a:bodyPr wrap="square" lIns="0" tIns="37401" rIns="0" bIns="0" rtlCol="0" anchor="ctr">
            <a:spAutoFit/>
          </a:bodyPr>
          <a:lstStyle/>
          <a:p>
            <a:pPr algn="ctr" defTabSz="935756">
              <a:lnSpc>
                <a:spcPct val="85000"/>
              </a:lnSpc>
              <a:spcAft>
                <a:spcPts val="620"/>
              </a:spcAft>
              <a:buClr>
                <a:srgbClr val="FFE600"/>
              </a:buClr>
              <a:buSzPct val="70000"/>
            </a:pPr>
            <a:r>
              <a:rPr lang="en-GB" sz="7200" b="1" dirty="0" smtClean="0">
                <a:solidFill>
                  <a:srgbClr val="FFFFFF"/>
                </a:solidFill>
                <a:latin typeface="EYInterstate" panose="02000503020000020004" pitchFamily="2" charset="0"/>
              </a:rPr>
              <a:t>CONTENTS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2378714" y="1556792"/>
            <a:ext cx="6864762" cy="0"/>
          </a:xfrm>
          <a:prstGeom prst="line">
            <a:avLst/>
          </a:prstGeom>
          <a:ln w="12700">
            <a:solidFill>
              <a:schemeClr val="tx2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378714" y="2180861"/>
            <a:ext cx="686476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2378714" y="2804930"/>
            <a:ext cx="686476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2378714" y="3428999"/>
            <a:ext cx="686476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2522372" y="1556854"/>
            <a:ext cx="258752" cy="624069"/>
          </a:xfrm>
          <a:prstGeom prst="rect">
            <a:avLst/>
          </a:prstGeom>
          <a:noFill/>
        </p:spPr>
        <p:txBody>
          <a:bodyPr wrap="square" lIns="0" tIns="37401" rIns="0" bIns="0" rtlCol="0" anchor="ctr">
            <a:noAutofit/>
          </a:bodyPr>
          <a:lstStyle/>
          <a:p>
            <a:pPr algn="ctr" defTabSz="935756">
              <a:lnSpc>
                <a:spcPct val="85000"/>
              </a:lnSpc>
              <a:spcAft>
                <a:spcPts val="620"/>
              </a:spcAft>
              <a:buClr>
                <a:srgbClr val="FFE600"/>
              </a:buClr>
              <a:buSzPct val="70000"/>
            </a:pPr>
            <a:r>
              <a:rPr lang="en-GB" sz="3084" dirty="0" smtClean="0">
                <a:solidFill>
                  <a:srgbClr val="FFE600"/>
                </a:solidFill>
                <a:latin typeface="EYInterstate" panose="02000503020000020004" pitchFamily="2" charset="0"/>
              </a:rPr>
              <a:t>1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522372" y="2180924"/>
            <a:ext cx="258752" cy="624069"/>
          </a:xfrm>
          <a:prstGeom prst="rect">
            <a:avLst/>
          </a:prstGeom>
          <a:noFill/>
        </p:spPr>
        <p:txBody>
          <a:bodyPr wrap="square" lIns="0" tIns="37401" rIns="0" bIns="0" rtlCol="0" anchor="ctr">
            <a:noAutofit/>
          </a:bodyPr>
          <a:lstStyle/>
          <a:p>
            <a:pPr algn="ctr" defTabSz="935756">
              <a:lnSpc>
                <a:spcPct val="85000"/>
              </a:lnSpc>
              <a:spcAft>
                <a:spcPts val="620"/>
              </a:spcAft>
              <a:buClr>
                <a:srgbClr val="FFE600"/>
              </a:buClr>
              <a:buSzPct val="70000"/>
            </a:pPr>
            <a:r>
              <a:rPr lang="en-GB" sz="3084" dirty="0" smtClean="0">
                <a:solidFill>
                  <a:srgbClr val="FFE600"/>
                </a:solidFill>
                <a:latin typeface="EYInterstate" panose="02000503020000020004" pitchFamily="2" charset="0"/>
              </a:rPr>
              <a:t>2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522372" y="2804992"/>
            <a:ext cx="258752" cy="624069"/>
          </a:xfrm>
          <a:prstGeom prst="rect">
            <a:avLst/>
          </a:prstGeom>
          <a:noFill/>
        </p:spPr>
        <p:txBody>
          <a:bodyPr wrap="square" lIns="0" tIns="37401" rIns="0" bIns="0" rtlCol="0" anchor="ctr">
            <a:noAutofit/>
          </a:bodyPr>
          <a:lstStyle/>
          <a:p>
            <a:pPr algn="ctr" defTabSz="935756">
              <a:lnSpc>
                <a:spcPct val="85000"/>
              </a:lnSpc>
              <a:spcAft>
                <a:spcPts val="620"/>
              </a:spcAft>
              <a:buClr>
                <a:srgbClr val="FFE600"/>
              </a:buClr>
              <a:buSzPct val="70000"/>
            </a:pPr>
            <a:r>
              <a:rPr lang="en-GB" sz="3084" dirty="0" smtClean="0">
                <a:solidFill>
                  <a:srgbClr val="FFE600"/>
                </a:solidFill>
                <a:latin typeface="EYInterstate" panose="02000503020000020004" pitchFamily="2" charset="0"/>
              </a:rPr>
              <a:t>3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2378714" y="4023351"/>
            <a:ext cx="686476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2378714" y="4647420"/>
            <a:ext cx="686476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522372" y="3429001"/>
            <a:ext cx="258752" cy="594353"/>
          </a:xfrm>
          <a:prstGeom prst="rect">
            <a:avLst/>
          </a:prstGeom>
          <a:noFill/>
        </p:spPr>
        <p:txBody>
          <a:bodyPr wrap="square" lIns="0" tIns="37401" rIns="0" bIns="0" rtlCol="0" anchor="ctr">
            <a:noAutofit/>
          </a:bodyPr>
          <a:lstStyle/>
          <a:p>
            <a:pPr algn="ctr" defTabSz="935756">
              <a:lnSpc>
                <a:spcPct val="85000"/>
              </a:lnSpc>
              <a:spcAft>
                <a:spcPts val="620"/>
              </a:spcAft>
              <a:buClr>
                <a:srgbClr val="FFE600"/>
              </a:buClr>
              <a:buSzPct val="70000"/>
            </a:pPr>
            <a:r>
              <a:rPr lang="en-GB" sz="3084" dirty="0" smtClean="0">
                <a:solidFill>
                  <a:srgbClr val="FFE600"/>
                </a:solidFill>
                <a:latin typeface="EYInterstate" panose="02000503020000020004" pitchFamily="2" charset="0"/>
              </a:rPr>
              <a:t>4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522372" y="4023414"/>
            <a:ext cx="258752" cy="624069"/>
          </a:xfrm>
          <a:prstGeom prst="rect">
            <a:avLst/>
          </a:prstGeom>
          <a:noFill/>
        </p:spPr>
        <p:txBody>
          <a:bodyPr wrap="square" lIns="0" tIns="37401" rIns="0" bIns="0" rtlCol="0" anchor="ctr">
            <a:noAutofit/>
          </a:bodyPr>
          <a:lstStyle/>
          <a:p>
            <a:pPr algn="ctr" defTabSz="935756">
              <a:lnSpc>
                <a:spcPct val="85000"/>
              </a:lnSpc>
              <a:spcAft>
                <a:spcPts val="620"/>
              </a:spcAft>
              <a:buClr>
                <a:srgbClr val="FFE600"/>
              </a:buClr>
              <a:buSzPct val="70000"/>
            </a:pPr>
            <a:r>
              <a:rPr lang="en-GB" sz="3084" dirty="0" smtClean="0">
                <a:solidFill>
                  <a:srgbClr val="FFE600"/>
                </a:solidFill>
                <a:latin typeface="EYInterstate" panose="02000503020000020004" pitchFamily="2" charset="0"/>
              </a:rPr>
              <a:t>5</a:t>
            </a:r>
          </a:p>
        </p:txBody>
      </p:sp>
      <p:sp>
        <p:nvSpPr>
          <p:cNvPr id="24" name="Text Placeholder 37"/>
          <p:cNvSpPr>
            <a:spLocks noGrp="1"/>
          </p:cNvSpPr>
          <p:nvPr>
            <p:ph type="body" sz="quarter" idx="10" hasCustomPrompt="1"/>
          </p:nvPr>
        </p:nvSpPr>
        <p:spPr>
          <a:xfrm>
            <a:off x="2924776" y="1639112"/>
            <a:ext cx="6318702" cy="459432"/>
          </a:xfrm>
        </p:spPr>
        <p:txBody>
          <a:bodyPr anchor="ctr"/>
          <a:lstStyle>
            <a:lvl1pPr marL="0" indent="0">
              <a:buNone/>
              <a:defRPr sz="2086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 – Main content </a:t>
            </a:r>
          </a:p>
        </p:txBody>
      </p:sp>
      <p:sp>
        <p:nvSpPr>
          <p:cNvPr id="25" name="Text Placehold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2924776" y="2257235"/>
            <a:ext cx="6318702" cy="459432"/>
          </a:xfrm>
        </p:spPr>
        <p:txBody>
          <a:bodyPr anchor="ctr"/>
          <a:lstStyle>
            <a:lvl1pPr marL="0" indent="0">
              <a:buNone/>
              <a:defRPr sz="2086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 – Main content </a:t>
            </a:r>
          </a:p>
        </p:txBody>
      </p:sp>
      <p:sp>
        <p:nvSpPr>
          <p:cNvPr id="26" name="Text Placeholder 37"/>
          <p:cNvSpPr>
            <a:spLocks noGrp="1"/>
          </p:cNvSpPr>
          <p:nvPr>
            <p:ph type="body" sz="quarter" idx="12" hasCustomPrompt="1"/>
          </p:nvPr>
        </p:nvSpPr>
        <p:spPr>
          <a:xfrm>
            <a:off x="2924776" y="2875362"/>
            <a:ext cx="6318702" cy="459432"/>
          </a:xfrm>
        </p:spPr>
        <p:txBody>
          <a:bodyPr anchor="ctr"/>
          <a:lstStyle>
            <a:lvl1pPr marL="0" indent="0">
              <a:buNone/>
              <a:defRPr sz="2086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 – Main content </a:t>
            </a:r>
          </a:p>
        </p:txBody>
      </p:sp>
      <p:sp>
        <p:nvSpPr>
          <p:cNvPr id="27" name="Text Placeholder 37"/>
          <p:cNvSpPr>
            <a:spLocks noGrp="1"/>
          </p:cNvSpPr>
          <p:nvPr>
            <p:ph type="body" sz="quarter" idx="13" hasCustomPrompt="1"/>
          </p:nvPr>
        </p:nvSpPr>
        <p:spPr>
          <a:xfrm>
            <a:off x="2924776" y="3493487"/>
            <a:ext cx="6318702" cy="459432"/>
          </a:xfrm>
        </p:spPr>
        <p:txBody>
          <a:bodyPr anchor="ctr"/>
          <a:lstStyle>
            <a:lvl1pPr marL="0" indent="0">
              <a:buNone/>
              <a:defRPr sz="2086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 – Main content </a:t>
            </a:r>
          </a:p>
        </p:txBody>
      </p:sp>
      <p:sp>
        <p:nvSpPr>
          <p:cNvPr id="28" name="Text Placehold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2924776" y="4111613"/>
            <a:ext cx="6318702" cy="459432"/>
          </a:xfrm>
        </p:spPr>
        <p:txBody>
          <a:bodyPr anchor="ctr"/>
          <a:lstStyle>
            <a:lvl1pPr marL="0" indent="0">
              <a:buNone/>
              <a:defRPr sz="2086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 – Main content </a:t>
            </a:r>
          </a:p>
        </p:txBody>
      </p:sp>
      <p:sp>
        <p:nvSpPr>
          <p:cNvPr id="2" name="Rectangle 1"/>
          <p:cNvSpPr/>
          <p:nvPr/>
        </p:nvSpPr>
        <p:spPr>
          <a:xfrm>
            <a:off x="101600" y="6147994"/>
            <a:ext cx="1807029" cy="653143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795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121114"/>
            <a:ext cx="43797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038800" y="2121114"/>
            <a:ext cx="43797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0" y="1426464"/>
            <a:ext cx="43797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8800" y="1426464"/>
            <a:ext cx="43797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24016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93582" y="1024129"/>
            <a:ext cx="89154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4620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95300" y="201168"/>
            <a:ext cx="89154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95300" y="1042417"/>
            <a:ext cx="89154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3811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95300" y="201168"/>
            <a:ext cx="89154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95300" y="1042417"/>
            <a:ext cx="89154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438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95300" y="201168"/>
            <a:ext cx="89154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95300" y="1040400"/>
            <a:ext cx="89154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379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93581" y="6243638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068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93580" y="719139"/>
            <a:ext cx="37986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305910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89139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0758" y="5340096"/>
            <a:ext cx="1069848" cy="1156968"/>
          </a:xfrm>
          <a:prstGeom prst="rect">
            <a:avLst/>
          </a:prstGeom>
        </p:spPr>
      </p:pic>
      <p:sp>
        <p:nvSpPr>
          <p:cNvPr id="10" name="Rectangle 1"/>
          <p:cNvSpPr>
            <a:spLocks noChangeAspect="1"/>
          </p:cNvSpPr>
          <p:nvPr/>
        </p:nvSpPr>
        <p:spPr>
          <a:xfrm>
            <a:off x="2093847" y="777241"/>
            <a:ext cx="7318574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397251" y="2240280"/>
            <a:ext cx="673608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397252" y="3220754"/>
            <a:ext cx="673608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81687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7076" y="2405084"/>
            <a:ext cx="9913076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646464"/>
                </a:solidFill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56688" y="777600"/>
            <a:ext cx="5984689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56688" y="1753200"/>
            <a:ext cx="5984689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10" name="Picture 9" descr="EY_Logo2.e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456689" y="5754254"/>
            <a:ext cx="1071582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4752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/>
          <p:nvPr/>
        </p:nvCxnSpPr>
        <p:spPr>
          <a:xfrm>
            <a:off x="2378714" y="1556792"/>
            <a:ext cx="6864762" cy="0"/>
          </a:xfrm>
          <a:prstGeom prst="line">
            <a:avLst/>
          </a:prstGeom>
          <a:ln w="12700">
            <a:solidFill>
              <a:schemeClr val="tx2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378714" y="2180861"/>
            <a:ext cx="686476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378714" y="2804930"/>
            <a:ext cx="686476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2378714" y="3428999"/>
            <a:ext cx="686476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522372" y="1556854"/>
            <a:ext cx="258752" cy="624069"/>
          </a:xfrm>
          <a:prstGeom prst="rect">
            <a:avLst/>
          </a:prstGeom>
          <a:noFill/>
        </p:spPr>
        <p:txBody>
          <a:bodyPr wrap="square" lIns="0" tIns="37401" rIns="0" bIns="0" rtlCol="0" anchor="ctr">
            <a:noAutofit/>
          </a:bodyPr>
          <a:lstStyle/>
          <a:p>
            <a:pPr algn="ctr" defTabSz="935756">
              <a:lnSpc>
                <a:spcPct val="85000"/>
              </a:lnSpc>
              <a:spcAft>
                <a:spcPts val="620"/>
              </a:spcAft>
              <a:buClr>
                <a:srgbClr val="FFE600"/>
              </a:buClr>
              <a:buSzPct val="70000"/>
            </a:pPr>
            <a:r>
              <a:rPr lang="en-GB" sz="3084" dirty="0" smtClean="0">
                <a:solidFill>
                  <a:srgbClr val="FFE600"/>
                </a:solidFill>
                <a:latin typeface="EYInterstate" panose="02000503020000020004" pitchFamily="2" charset="0"/>
              </a:rPr>
              <a:t>1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522372" y="2180924"/>
            <a:ext cx="258752" cy="624069"/>
          </a:xfrm>
          <a:prstGeom prst="rect">
            <a:avLst/>
          </a:prstGeom>
          <a:noFill/>
        </p:spPr>
        <p:txBody>
          <a:bodyPr wrap="square" lIns="0" tIns="37401" rIns="0" bIns="0" rtlCol="0" anchor="ctr">
            <a:noAutofit/>
          </a:bodyPr>
          <a:lstStyle/>
          <a:p>
            <a:pPr algn="ctr" defTabSz="935756">
              <a:lnSpc>
                <a:spcPct val="85000"/>
              </a:lnSpc>
              <a:spcAft>
                <a:spcPts val="620"/>
              </a:spcAft>
              <a:buClr>
                <a:srgbClr val="FFE600"/>
              </a:buClr>
              <a:buSzPct val="70000"/>
            </a:pPr>
            <a:r>
              <a:rPr lang="en-GB" sz="3084" dirty="0" smtClean="0">
                <a:solidFill>
                  <a:srgbClr val="FFE600"/>
                </a:solidFill>
                <a:latin typeface="EYInterstate" panose="02000503020000020004" pitchFamily="2" charset="0"/>
              </a:rPr>
              <a:t>2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522372" y="2804992"/>
            <a:ext cx="258752" cy="624069"/>
          </a:xfrm>
          <a:prstGeom prst="rect">
            <a:avLst/>
          </a:prstGeom>
          <a:noFill/>
        </p:spPr>
        <p:txBody>
          <a:bodyPr wrap="square" lIns="0" tIns="37401" rIns="0" bIns="0" rtlCol="0" anchor="ctr">
            <a:noAutofit/>
          </a:bodyPr>
          <a:lstStyle/>
          <a:p>
            <a:pPr algn="ctr" defTabSz="935756">
              <a:lnSpc>
                <a:spcPct val="85000"/>
              </a:lnSpc>
              <a:spcAft>
                <a:spcPts val="620"/>
              </a:spcAft>
              <a:buClr>
                <a:srgbClr val="FFE600"/>
              </a:buClr>
              <a:buSzPct val="70000"/>
            </a:pPr>
            <a:r>
              <a:rPr lang="en-GB" sz="3084" dirty="0" smtClean="0">
                <a:solidFill>
                  <a:srgbClr val="FFE600"/>
                </a:solidFill>
                <a:latin typeface="EYInterstate" panose="02000503020000020004" pitchFamily="2" charset="0"/>
              </a:rPr>
              <a:t>3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2378714" y="4023351"/>
            <a:ext cx="686476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2378714" y="4647420"/>
            <a:ext cx="686476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522372" y="3429001"/>
            <a:ext cx="258752" cy="594353"/>
          </a:xfrm>
          <a:prstGeom prst="rect">
            <a:avLst/>
          </a:prstGeom>
          <a:noFill/>
        </p:spPr>
        <p:txBody>
          <a:bodyPr wrap="square" lIns="0" tIns="37401" rIns="0" bIns="0" rtlCol="0" anchor="ctr">
            <a:noAutofit/>
          </a:bodyPr>
          <a:lstStyle/>
          <a:p>
            <a:pPr algn="ctr" defTabSz="935756">
              <a:lnSpc>
                <a:spcPct val="85000"/>
              </a:lnSpc>
              <a:spcAft>
                <a:spcPts val="620"/>
              </a:spcAft>
              <a:buClr>
                <a:srgbClr val="FFE600"/>
              </a:buClr>
              <a:buSzPct val="70000"/>
            </a:pPr>
            <a:r>
              <a:rPr lang="en-GB" sz="3084" dirty="0" smtClean="0">
                <a:solidFill>
                  <a:srgbClr val="FFE600"/>
                </a:solidFill>
                <a:latin typeface="EYInterstate" panose="02000503020000020004" pitchFamily="2" charset="0"/>
              </a:rPr>
              <a:t>4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522372" y="4023414"/>
            <a:ext cx="258752" cy="624069"/>
          </a:xfrm>
          <a:prstGeom prst="rect">
            <a:avLst/>
          </a:prstGeom>
          <a:noFill/>
        </p:spPr>
        <p:txBody>
          <a:bodyPr wrap="square" lIns="0" tIns="37401" rIns="0" bIns="0" rtlCol="0" anchor="ctr">
            <a:noAutofit/>
          </a:bodyPr>
          <a:lstStyle/>
          <a:p>
            <a:pPr algn="ctr" defTabSz="935756">
              <a:lnSpc>
                <a:spcPct val="85000"/>
              </a:lnSpc>
              <a:spcAft>
                <a:spcPts val="620"/>
              </a:spcAft>
              <a:buClr>
                <a:srgbClr val="FFE600"/>
              </a:buClr>
              <a:buSzPct val="70000"/>
            </a:pPr>
            <a:r>
              <a:rPr lang="en-GB" sz="3084" dirty="0" smtClean="0">
                <a:solidFill>
                  <a:srgbClr val="FFE600"/>
                </a:solidFill>
                <a:latin typeface="EYInterstate" panose="02000503020000020004" pitchFamily="2" charset="0"/>
              </a:rPr>
              <a:t>5</a:t>
            </a:r>
          </a:p>
        </p:txBody>
      </p:sp>
      <p:sp>
        <p:nvSpPr>
          <p:cNvPr id="38" name="Text Placeholder 37"/>
          <p:cNvSpPr>
            <a:spLocks noGrp="1"/>
          </p:cNvSpPr>
          <p:nvPr>
            <p:ph type="body" sz="quarter" idx="10" hasCustomPrompt="1"/>
          </p:nvPr>
        </p:nvSpPr>
        <p:spPr>
          <a:xfrm>
            <a:off x="2924776" y="1639112"/>
            <a:ext cx="6318702" cy="459432"/>
          </a:xfrm>
        </p:spPr>
        <p:txBody>
          <a:bodyPr anchor="ctr"/>
          <a:lstStyle>
            <a:lvl1pPr marL="0" indent="0">
              <a:buNone/>
              <a:defRPr sz="2086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 – Sub content</a:t>
            </a:r>
          </a:p>
        </p:txBody>
      </p:sp>
      <p:sp>
        <p:nvSpPr>
          <p:cNvPr id="40" name="Text Placehold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2924776" y="2257235"/>
            <a:ext cx="6318702" cy="459432"/>
          </a:xfrm>
        </p:spPr>
        <p:txBody>
          <a:bodyPr anchor="ctr"/>
          <a:lstStyle>
            <a:lvl1pPr marL="0" indent="0">
              <a:buNone/>
              <a:defRPr sz="2086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 – Sub content</a:t>
            </a:r>
          </a:p>
        </p:txBody>
      </p:sp>
      <p:sp>
        <p:nvSpPr>
          <p:cNvPr id="41" name="Text Placeholder 37"/>
          <p:cNvSpPr>
            <a:spLocks noGrp="1"/>
          </p:cNvSpPr>
          <p:nvPr>
            <p:ph type="body" sz="quarter" idx="12" hasCustomPrompt="1"/>
          </p:nvPr>
        </p:nvSpPr>
        <p:spPr>
          <a:xfrm>
            <a:off x="2924776" y="2875362"/>
            <a:ext cx="6318702" cy="459432"/>
          </a:xfr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2086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 – Sub content</a:t>
            </a:r>
          </a:p>
        </p:txBody>
      </p:sp>
      <p:sp>
        <p:nvSpPr>
          <p:cNvPr id="42" name="Text Placeholder 37"/>
          <p:cNvSpPr>
            <a:spLocks noGrp="1"/>
          </p:cNvSpPr>
          <p:nvPr>
            <p:ph type="body" sz="quarter" idx="13" hasCustomPrompt="1"/>
          </p:nvPr>
        </p:nvSpPr>
        <p:spPr>
          <a:xfrm>
            <a:off x="2924776" y="3493487"/>
            <a:ext cx="6318702" cy="459432"/>
          </a:xfrm>
        </p:spPr>
        <p:txBody>
          <a:bodyPr anchor="ctr"/>
          <a:lstStyle>
            <a:lvl1pPr marL="0" indent="0">
              <a:buNone/>
              <a:defRPr sz="2086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 – Sub content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151" t="8287" r="17768" b="61316"/>
          <a:stretch/>
        </p:blipFill>
        <p:spPr>
          <a:xfrm rot="16200000">
            <a:off x="-2550477" y="2539680"/>
            <a:ext cx="6868798" cy="1767843"/>
          </a:xfrm>
          <a:prstGeom prst="rect">
            <a:avLst/>
          </a:prstGeom>
        </p:spPr>
      </p:pic>
      <p:sp>
        <p:nvSpPr>
          <p:cNvPr id="43" name="Text Placehold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2924776" y="4111613"/>
            <a:ext cx="6318702" cy="459432"/>
          </a:xfrm>
        </p:spPr>
        <p:txBody>
          <a:bodyPr anchor="ctr"/>
          <a:lstStyle>
            <a:lvl1pPr marL="0" indent="0">
              <a:buNone/>
              <a:defRPr sz="2086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 – Sub content</a:t>
            </a:r>
          </a:p>
        </p:txBody>
      </p:sp>
      <p:sp>
        <p:nvSpPr>
          <p:cNvPr id="28" name="TextBox 27"/>
          <p:cNvSpPr txBox="1"/>
          <p:nvPr/>
        </p:nvSpPr>
        <p:spPr>
          <a:xfrm rot="16200000">
            <a:off x="-2542440" y="2908863"/>
            <a:ext cx="6858000" cy="1058046"/>
          </a:xfrm>
          <a:prstGeom prst="rect">
            <a:avLst/>
          </a:prstGeom>
          <a:noFill/>
        </p:spPr>
        <p:txBody>
          <a:bodyPr wrap="square" lIns="0" tIns="37401" rIns="0" bIns="0" rtlCol="0" anchor="ctr">
            <a:spAutoFit/>
          </a:bodyPr>
          <a:lstStyle/>
          <a:p>
            <a:pPr algn="ctr" defTabSz="935756">
              <a:lnSpc>
                <a:spcPct val="85000"/>
              </a:lnSpc>
              <a:spcAft>
                <a:spcPts val="620"/>
              </a:spcAft>
              <a:buClr>
                <a:srgbClr val="FFE600"/>
              </a:buClr>
              <a:buSzPct val="70000"/>
            </a:pPr>
            <a:r>
              <a:rPr lang="en-GB" sz="7800" b="1" dirty="0" smtClean="0">
                <a:solidFill>
                  <a:srgbClr val="FFFFFF"/>
                </a:solidFill>
                <a:latin typeface="EYInterstate" panose="02000503020000020004" pitchFamily="2" charset="0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1762507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425599"/>
            <a:ext cx="89154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1003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425599"/>
            <a:ext cx="89154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129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425599"/>
            <a:ext cx="89154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4036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0541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6509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426465"/>
            <a:ext cx="437515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426465"/>
            <a:ext cx="437515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5626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121114"/>
            <a:ext cx="43797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038800" y="2121114"/>
            <a:ext cx="43797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0" y="1426464"/>
            <a:ext cx="43797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8800" y="1426464"/>
            <a:ext cx="43797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48702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93582" y="1024129"/>
            <a:ext cx="89154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0026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95300" y="201168"/>
            <a:ext cx="89154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95300" y="1042417"/>
            <a:ext cx="89154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13530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95300" y="201168"/>
            <a:ext cx="89154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95300" y="1042417"/>
            <a:ext cx="89154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795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3076"/>
            <a:ext cx="9906000" cy="6861076"/>
          </a:xfrm>
          <a:prstGeom prst="rect">
            <a:avLst/>
          </a:prstGeom>
        </p:spPr>
      </p:pic>
      <p:sp>
        <p:nvSpPr>
          <p:cNvPr id="7" name="Freeform 5"/>
          <p:cNvSpPr>
            <a:spLocks noChangeAspect="1"/>
          </p:cNvSpPr>
          <p:nvPr/>
        </p:nvSpPr>
        <p:spPr bwMode="gray">
          <a:xfrm rot="10800000">
            <a:off x="489601" y="457200"/>
            <a:ext cx="4116842" cy="347585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3578" tIns="46789" rIns="93578" bIns="46789" numCol="1" anchor="t" anchorCtr="0" compatLnSpc="1">
            <a:prstTxWarp prst="textNoShape">
              <a:avLst/>
            </a:prstTxWarp>
          </a:bodyPr>
          <a:lstStyle/>
          <a:p>
            <a:pPr defTabSz="935756"/>
            <a:endParaRPr lang="en-GB" sz="1905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2143" y="1556792"/>
            <a:ext cx="3671755" cy="860425"/>
          </a:xfrm>
        </p:spPr>
        <p:txBody>
          <a:bodyPr/>
          <a:lstStyle>
            <a:lvl1pPr marL="0" indent="0">
              <a:buNone/>
              <a:defRPr sz="263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6248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95300" y="201168"/>
            <a:ext cx="89154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95300" y="1040400"/>
            <a:ext cx="89154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267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93581" y="6243638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631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93580" y="719139"/>
            <a:ext cx="37986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758848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15749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0758" y="5340096"/>
            <a:ext cx="1069848" cy="1156968"/>
          </a:xfrm>
          <a:prstGeom prst="rect">
            <a:avLst/>
          </a:prstGeom>
        </p:spPr>
      </p:pic>
      <p:sp>
        <p:nvSpPr>
          <p:cNvPr id="10" name="Rectangle 1"/>
          <p:cNvSpPr>
            <a:spLocks noChangeAspect="1"/>
          </p:cNvSpPr>
          <p:nvPr/>
        </p:nvSpPr>
        <p:spPr>
          <a:xfrm>
            <a:off x="2093847" y="777241"/>
            <a:ext cx="7318574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397251" y="2240280"/>
            <a:ext cx="673608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397252" y="3220754"/>
            <a:ext cx="673608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27567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7076" y="2405084"/>
            <a:ext cx="9913076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646464"/>
                </a:solidFill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56688" y="777600"/>
            <a:ext cx="5984689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56688" y="1753200"/>
            <a:ext cx="5984689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10" name="Picture 9" descr="EY_Logo2.e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456689" y="5754254"/>
            <a:ext cx="1071582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0698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425599"/>
            <a:ext cx="89154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18048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425599"/>
            <a:ext cx="89154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6021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425599"/>
            <a:ext cx="89154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1054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9733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AAS 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098" t="35245" r="9356" b="50635"/>
          <a:stretch/>
        </p:blipFill>
        <p:spPr>
          <a:xfrm rot="16200000">
            <a:off x="6048280" y="2928600"/>
            <a:ext cx="6858000" cy="1000800"/>
          </a:xfrm>
          <a:prstGeom prst="rect">
            <a:avLst/>
          </a:prstGeom>
        </p:spPr>
      </p:pic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569939" y="1026969"/>
            <a:ext cx="8280123" cy="0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ysDot"/>
            <a:round/>
            <a:headEnd/>
            <a:tailEnd/>
          </a:ln>
          <a:effectLst/>
        </p:spPr>
        <p:txBody>
          <a:bodyPr wrap="none" lIns="93578" tIns="46789" rIns="93578" bIns="4678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33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569872" y="6242400"/>
            <a:ext cx="828012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3578" tIns="46789" rIns="93578" bIns="4678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33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43395" y="6396184"/>
            <a:ext cx="3720600" cy="201168"/>
          </a:xfrm>
        </p:spPr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727"/>
          <a:stretch/>
        </p:blipFill>
        <p:spPr bwMode="auto">
          <a:xfrm>
            <a:off x="9288986" y="6302667"/>
            <a:ext cx="462682" cy="424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872" y="1151273"/>
            <a:ext cx="8280126" cy="4698977"/>
          </a:xfrm>
        </p:spPr>
        <p:txBody>
          <a:bodyPr/>
          <a:lstStyle>
            <a:lvl1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Arial 20 point</a:t>
            </a:r>
          </a:p>
          <a:p>
            <a:pPr lvl="2"/>
            <a:r>
              <a:rPr lang="en-US" dirty="0" smtClean="0"/>
              <a:t>Arial 18 point</a:t>
            </a:r>
          </a:p>
          <a:p>
            <a:pPr lvl="3"/>
            <a:r>
              <a:rPr lang="en-US" dirty="0" smtClean="0"/>
              <a:t>Arial 16 point</a:t>
            </a:r>
          </a:p>
          <a:p>
            <a:pPr lvl="4"/>
            <a:r>
              <a:rPr lang="en-US" dirty="0" smtClean="0"/>
              <a:t>Arial 16 point</a:t>
            </a:r>
          </a:p>
          <a:p>
            <a:endParaRPr lang="en-GB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569872" y="201600"/>
            <a:ext cx="8280126" cy="4332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9872" y="594759"/>
            <a:ext cx="8280126" cy="397180"/>
          </a:xfrm>
        </p:spPr>
        <p:txBody>
          <a:bodyPr/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 dirty="0" smtClean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90941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98976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426465"/>
            <a:ext cx="437515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426465"/>
            <a:ext cx="437515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65653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121114"/>
            <a:ext cx="43797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038800" y="2121114"/>
            <a:ext cx="43797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0" y="1426464"/>
            <a:ext cx="43797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8800" y="1426464"/>
            <a:ext cx="43797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28119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93582" y="1024129"/>
            <a:ext cx="89154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8330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95300" y="201168"/>
            <a:ext cx="89154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95300" y="1042417"/>
            <a:ext cx="89154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9241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95300" y="201168"/>
            <a:ext cx="89154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95300" y="1042417"/>
            <a:ext cx="89154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499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95300" y="201168"/>
            <a:ext cx="89154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95300" y="1040400"/>
            <a:ext cx="89154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236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93581" y="6243638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493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93580" y="719139"/>
            <a:ext cx="37986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326090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21088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3076"/>
            <a:ext cx="9906000" cy="6861076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-6927" y="3727592"/>
            <a:ext cx="6121680" cy="1872208"/>
            <a:chOff x="-126908" y="4356692"/>
            <a:chExt cx="7373644" cy="2088235"/>
          </a:xfrm>
        </p:grpSpPr>
        <p:sp>
          <p:nvSpPr>
            <p:cNvPr id="8" name="Rectangle 7"/>
            <p:cNvSpPr/>
            <p:nvPr/>
          </p:nvSpPr>
          <p:spPr>
            <a:xfrm>
              <a:off x="-126908" y="4356695"/>
              <a:ext cx="6337704" cy="208823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9" name="Right Triangle 8"/>
            <p:cNvSpPr/>
            <p:nvPr/>
          </p:nvSpPr>
          <p:spPr>
            <a:xfrm flipV="1">
              <a:off x="6210796" y="4356692"/>
              <a:ext cx="1035940" cy="2088233"/>
            </a:xfrm>
            <a:prstGeom prst="rtTriangl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6121" y="4189366"/>
            <a:ext cx="3963612" cy="948658"/>
          </a:xfrm>
        </p:spPr>
        <p:txBody>
          <a:bodyPr/>
          <a:lstStyle>
            <a:lvl1pPr marL="0" indent="0">
              <a:buNone/>
              <a:defRPr sz="2900" b="1"/>
            </a:lvl1pPr>
          </a:lstStyle>
          <a:p>
            <a:pPr lvl="0"/>
            <a:r>
              <a:rPr lang="en-US" dirty="0" smtClean="0"/>
              <a:t>Sub divider slide </a:t>
            </a:r>
          </a:p>
        </p:txBody>
      </p:sp>
    </p:spTree>
    <p:extLst>
      <p:ext uri="{BB962C8B-B14F-4D97-AF65-F5344CB8AC3E}">
        <p14:creationId xmlns:p14="http://schemas.microsoft.com/office/powerpoint/2010/main" val="1063174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0758" y="5340096"/>
            <a:ext cx="1069848" cy="1156968"/>
          </a:xfrm>
          <a:prstGeom prst="rect">
            <a:avLst/>
          </a:prstGeom>
        </p:spPr>
      </p:pic>
      <p:sp>
        <p:nvSpPr>
          <p:cNvPr id="10" name="Rectangle 1"/>
          <p:cNvSpPr>
            <a:spLocks noChangeAspect="1"/>
          </p:cNvSpPr>
          <p:nvPr/>
        </p:nvSpPr>
        <p:spPr>
          <a:xfrm>
            <a:off x="2093847" y="777241"/>
            <a:ext cx="7318574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397251" y="2240280"/>
            <a:ext cx="673608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397252" y="3220754"/>
            <a:ext cx="673608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474480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7076" y="2405084"/>
            <a:ext cx="9913076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646464"/>
                </a:solidFill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56688" y="777600"/>
            <a:ext cx="5984689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56688" y="1753200"/>
            <a:ext cx="5984689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10" name="Picture 9" descr="EY_Logo2.e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456689" y="5754254"/>
            <a:ext cx="1071582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59644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425599"/>
            <a:ext cx="89154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72362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425599"/>
            <a:ext cx="89154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76763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425599"/>
            <a:ext cx="89154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14498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57126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85923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426465"/>
            <a:ext cx="437515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426465"/>
            <a:ext cx="437515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19509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121114"/>
            <a:ext cx="43797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038800" y="2121114"/>
            <a:ext cx="43797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0" y="1426464"/>
            <a:ext cx="43797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8800" y="1426464"/>
            <a:ext cx="43797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3556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93582" y="1024129"/>
            <a:ext cx="89154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6736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AS 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098" t="35245" r="9356" b="50635"/>
          <a:stretch/>
        </p:blipFill>
        <p:spPr>
          <a:xfrm rot="16200000">
            <a:off x="6048280" y="2928600"/>
            <a:ext cx="6858000" cy="1000800"/>
          </a:xfrm>
          <a:prstGeom prst="rect">
            <a:avLst/>
          </a:prstGeom>
        </p:spPr>
      </p:pic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569939" y="1026969"/>
            <a:ext cx="8280123" cy="0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ysDot"/>
            <a:round/>
            <a:headEnd/>
            <a:tailEnd/>
          </a:ln>
          <a:effectLst/>
        </p:spPr>
        <p:txBody>
          <a:bodyPr wrap="none" lIns="93578" tIns="46789" rIns="93578" bIns="4678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33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569872" y="6242400"/>
            <a:ext cx="828012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3578" tIns="46789" rIns="93578" bIns="46789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33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43395" y="6396184"/>
            <a:ext cx="3720600" cy="201168"/>
          </a:xfrm>
        </p:spPr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727"/>
          <a:stretch/>
        </p:blipFill>
        <p:spPr bwMode="auto">
          <a:xfrm>
            <a:off x="9288986" y="6302667"/>
            <a:ext cx="462682" cy="424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872" y="1151273"/>
            <a:ext cx="8280126" cy="4698977"/>
          </a:xfrm>
        </p:spPr>
        <p:txBody>
          <a:bodyPr/>
          <a:lstStyle>
            <a:lvl1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Arial 20 point</a:t>
            </a:r>
          </a:p>
          <a:p>
            <a:pPr lvl="2"/>
            <a:r>
              <a:rPr lang="en-US" dirty="0" smtClean="0"/>
              <a:t>Arial 18 point</a:t>
            </a:r>
          </a:p>
          <a:p>
            <a:pPr lvl="3"/>
            <a:r>
              <a:rPr lang="en-US" dirty="0" smtClean="0"/>
              <a:t>Arial 16 point</a:t>
            </a:r>
          </a:p>
          <a:p>
            <a:pPr lvl="4"/>
            <a:r>
              <a:rPr lang="en-US" dirty="0" smtClean="0"/>
              <a:t>Arial 16 point</a:t>
            </a:r>
          </a:p>
          <a:p>
            <a:endParaRPr lang="en-GB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569872" y="201600"/>
            <a:ext cx="8280126" cy="41753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9872" y="594759"/>
            <a:ext cx="8280126" cy="397180"/>
          </a:xfrm>
        </p:spPr>
        <p:txBody>
          <a:bodyPr/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 dirty="0" smtClean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768248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95300" y="201168"/>
            <a:ext cx="89154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95300" y="1042417"/>
            <a:ext cx="89154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0622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95300" y="201168"/>
            <a:ext cx="89154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95300" y="1042417"/>
            <a:ext cx="89154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303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95300" y="201168"/>
            <a:ext cx="89154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95300" y="1040400"/>
            <a:ext cx="89154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659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93581" y="6243638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209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93580" y="719139"/>
            <a:ext cx="37986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1654493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29724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54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425601"/>
            <a:ext cx="8915400" cy="46989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72" tIns="45686" rIns="91372" bIns="45686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372" tIns="45686" rIns="91372" bIns="45686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Global FAAS - Datahandling mit großen Datenmen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9923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426465"/>
            <a:ext cx="437515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426465"/>
            <a:ext cx="437515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95300" y="1044000"/>
            <a:ext cx="89154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Global FAAS - Datahandling mit großen Datenmen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43063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88602786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530740" y="201600"/>
            <a:ext cx="891884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25600"/>
            <a:ext cx="89154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04100" y="6496184"/>
            <a:ext cx="3720600" cy="201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5300" y="6496184"/>
            <a:ext cx="782574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100" dirty="0">
                <a:solidFill>
                  <a:srgbClr val="646464"/>
                </a:solidFill>
                <a:cs typeface="Arial" pitchFamily="34" charset="0"/>
              </a:rPr>
              <a:t>Page </a:t>
            </a:r>
            <a:fld id="{9AE4D82F-B047-469B-AC52-A46321747EAF}" type="slidenum">
              <a:rPr lang="en-GB" sz="1100">
                <a:solidFill>
                  <a:srgbClr val="646464"/>
                </a:solidFill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1319275" y="6496184"/>
            <a:ext cx="1287780" cy="20116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>
              <a:solidFill>
                <a:srgbClr val="646464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3386" y="6327648"/>
            <a:ext cx="374695" cy="408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22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95" r:id="rId2"/>
    <p:sldLayoutId id="2147483691" r:id="rId3"/>
    <p:sldLayoutId id="2147483690" r:id="rId4"/>
    <p:sldLayoutId id="2147483697" r:id="rId5"/>
    <p:sldLayoutId id="2147483696" r:id="rId6"/>
    <p:sldLayoutId id="2147483692" r:id="rId7"/>
    <p:sldLayoutId id="2147483698" r:id="rId8"/>
    <p:sldLayoutId id="2147483699" r:id="rId9"/>
    <p:sldLayoutId id="2147483768" r:id="rId10"/>
    <p:sldLayoutId id="2147483769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25600"/>
            <a:ext cx="89154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04100" y="6496184"/>
            <a:ext cx="3720600" cy="201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5300" y="6496184"/>
            <a:ext cx="782574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100" dirty="0" smtClean="0">
                <a:solidFill>
                  <a:srgbClr val="646464"/>
                </a:solidFill>
                <a:cs typeface="Arial" pitchFamily="34" charset="0"/>
              </a:rPr>
              <a:t>Page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1319275" y="6496184"/>
            <a:ext cx="1287780" cy="20116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>
              <a:solidFill>
                <a:srgbClr val="646464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836" y="6327648"/>
            <a:ext cx="433246" cy="408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859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25600"/>
            <a:ext cx="89154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04100" y="6496184"/>
            <a:ext cx="3720600" cy="201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5300" y="6496184"/>
            <a:ext cx="782574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100" dirty="0" smtClean="0">
                <a:solidFill>
                  <a:srgbClr val="646464"/>
                </a:solidFill>
                <a:cs typeface="Arial" pitchFamily="34" charset="0"/>
              </a:rPr>
              <a:t>Page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1319275" y="6496184"/>
            <a:ext cx="1287780" cy="20116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>
              <a:solidFill>
                <a:srgbClr val="646464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836" y="6327648"/>
            <a:ext cx="433246" cy="408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797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25600"/>
            <a:ext cx="89154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04100" y="6496184"/>
            <a:ext cx="3720600" cy="201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5300" y="6496184"/>
            <a:ext cx="782574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100" dirty="0" smtClean="0">
                <a:solidFill>
                  <a:srgbClr val="646464"/>
                </a:solidFill>
                <a:cs typeface="Arial" pitchFamily="34" charset="0"/>
              </a:rPr>
              <a:t>Page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1319275" y="6496184"/>
            <a:ext cx="1287780" cy="20116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>
              <a:solidFill>
                <a:srgbClr val="646464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836" y="6327648"/>
            <a:ext cx="433246" cy="408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727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884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25600"/>
            <a:ext cx="89154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04100" y="6496184"/>
            <a:ext cx="3720600" cy="201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5300" y="6496184"/>
            <a:ext cx="782574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100" dirty="0" smtClean="0">
                <a:solidFill>
                  <a:srgbClr val="646464"/>
                </a:solidFill>
                <a:cs typeface="Arial" pitchFamily="34" charset="0"/>
              </a:rPr>
              <a:t>Page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1319275" y="6496184"/>
            <a:ext cx="1287780" cy="20116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US" dirty="0">
              <a:solidFill>
                <a:srgbClr val="646464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836" y="6327648"/>
            <a:ext cx="433246" cy="408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466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atahandling mit großen Datenmeng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Ausblick</a:t>
            </a:r>
            <a:r>
              <a:rPr lang="de-DE" dirty="0"/>
              <a:t>: Nutzung von Computercluster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412576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3995" y="4357813"/>
            <a:ext cx="2750457" cy="1855295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Verbund mehrerer Rechn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Aufgaben können aufgeteilt werden und die Teile von den einzelnen Rechnern parallel bearbeitet werd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Datenmengen, die ein einzelner Rechner nie verarbeiten könnte, können analysiert werden</a:t>
            </a:r>
          </a:p>
          <a:p>
            <a:pPr marL="1056132" lvl="1" indent="-342900">
              <a:buFont typeface="Arial" panose="020B0604020202020204" pitchFamily="34" charset="0"/>
              <a:buChar char="•"/>
            </a:pPr>
            <a:r>
              <a:rPr lang="de-DE" dirty="0" smtClean="0"/>
              <a:t>Theoretisch kann alles </a:t>
            </a:r>
            <a:r>
              <a:rPr lang="de-DE" dirty="0"/>
              <a:t>verarbeitet werden, das Cluster muss nur groß genug </a:t>
            </a:r>
            <a:r>
              <a:rPr lang="de-DE" dirty="0" smtClean="0"/>
              <a:t>se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Von einem Master-Rechner aus werden Aufgaben auf die einzelnen Rechner im Cluster aufgeteilt und dort berechnet, die Ergebnisse werden an den Master-Rechner zurückgeschick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putercluster</a:t>
            </a:r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Was ist das? Was bringt das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4821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Java-basiertes Framework für </a:t>
            </a:r>
            <a:r>
              <a:rPr lang="de-DE" dirty="0"/>
              <a:t>verteilt arbeitende </a:t>
            </a:r>
            <a:r>
              <a:rPr lang="de-DE" dirty="0" smtClean="0"/>
              <a:t>Softwa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Basiert </a:t>
            </a:r>
            <a:r>
              <a:rPr lang="de-DE" dirty="0"/>
              <a:t>auf dem </a:t>
            </a:r>
            <a:r>
              <a:rPr lang="de-DE" dirty="0" err="1"/>
              <a:t>MapReduce</a:t>
            </a:r>
            <a:r>
              <a:rPr lang="de-DE" dirty="0"/>
              <a:t>-Algorithmus von </a:t>
            </a:r>
            <a:r>
              <a:rPr lang="de-DE" dirty="0" smtClean="0"/>
              <a:t>Googl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Ermöglicht Rechenprozesse mit großen Datenmengen </a:t>
            </a:r>
            <a:r>
              <a:rPr lang="de-DE" dirty="0"/>
              <a:t>auf </a:t>
            </a:r>
            <a:r>
              <a:rPr lang="de-DE" dirty="0" smtClean="0"/>
              <a:t>Computercluster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Hadoop</a:t>
            </a:r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Überblick</a:t>
            </a:r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8277" y="4103103"/>
            <a:ext cx="6339179" cy="1644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995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Läuft auf </a:t>
            </a:r>
            <a:r>
              <a:rPr lang="de-DE" dirty="0" err="1" smtClean="0"/>
              <a:t>Hadoop</a:t>
            </a:r>
            <a:r>
              <a:rPr lang="de-DE" dirty="0" smtClean="0"/>
              <a:t>-Cluster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Wird auf allen Rechnern des Clusters installier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Verteilt Aufgaben auf die einzelnen Rechner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Lässt sich in R und Python einbind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 smtClean="0"/>
              <a:t>Machine</a:t>
            </a:r>
            <a:r>
              <a:rPr lang="de-DE" dirty="0" smtClean="0"/>
              <a:t> </a:t>
            </a:r>
            <a:r>
              <a:rPr lang="de-DE" dirty="0"/>
              <a:t>Learning </a:t>
            </a:r>
            <a:r>
              <a:rPr lang="de-DE" dirty="0" smtClean="0"/>
              <a:t>Library (</a:t>
            </a:r>
            <a:r>
              <a:rPr lang="de-DE" dirty="0" err="1" smtClean="0"/>
              <a:t>MLlib</a:t>
            </a:r>
            <a:r>
              <a:rPr lang="de-DE" dirty="0" smtClean="0"/>
              <a:t>)</a:t>
            </a:r>
          </a:p>
          <a:p>
            <a:pPr marL="1056132" lvl="1" indent="-342900">
              <a:buFont typeface="Arial" panose="020B0604020202020204" pitchFamily="34" charset="0"/>
              <a:buChar char="•"/>
            </a:pPr>
            <a:r>
              <a:rPr lang="de-DE" dirty="0" smtClean="0"/>
              <a:t>Funktionsbibliothek mit typischen </a:t>
            </a:r>
            <a:r>
              <a:rPr lang="de-DE" dirty="0" err="1"/>
              <a:t>Machine</a:t>
            </a:r>
            <a:r>
              <a:rPr lang="de-DE" dirty="0"/>
              <a:t>-Learning-Algorithmen für verteilte </a:t>
            </a:r>
            <a:r>
              <a:rPr lang="de-DE" dirty="0" smtClean="0"/>
              <a:t>Spark-Syste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park</a:t>
            </a:r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Überblick</a:t>
            </a:r>
            <a:endParaRPr lang="de-DE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3460" y="5057083"/>
            <a:ext cx="1828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63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park</a:t>
            </a:r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Funktionsweise</a:t>
            </a:r>
            <a:endParaRPr lang="de-DE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0143" y="1281480"/>
            <a:ext cx="5805714" cy="4295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617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646464"/>
                </a:solidFill>
              </a:rPr>
              <a:t>Global FAAS - Datahandling mit großen Datenmengen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Pakete zur Nutzung von Spark aus R oder Pyth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Grundlegende </a:t>
            </a:r>
            <a:r>
              <a:rPr lang="de-DE" dirty="0"/>
              <a:t>Spark-Einstellungen </a:t>
            </a:r>
            <a:r>
              <a:rPr lang="de-DE" dirty="0" smtClean="0"/>
              <a:t>können vorgenommen werd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Befehle können auf dem Cluster durchgeführt werd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Datensätze können aufgeteilt auf dem Cluster gespeichert werd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Die </a:t>
            </a:r>
            <a:r>
              <a:rPr lang="de-DE" dirty="0" err="1"/>
              <a:t>Machine</a:t>
            </a:r>
            <a:r>
              <a:rPr lang="de-DE" dirty="0"/>
              <a:t>-Learning-Algorithmen </a:t>
            </a:r>
            <a:r>
              <a:rPr lang="de-DE" dirty="0" smtClean="0"/>
              <a:t>aus </a:t>
            </a:r>
            <a:r>
              <a:rPr lang="de-DE" dirty="0" err="1" smtClean="0"/>
              <a:t>MLlib</a:t>
            </a:r>
            <a:r>
              <a:rPr lang="de-DE" dirty="0" smtClean="0"/>
              <a:t> können genutzt werd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parkR</a:t>
            </a:r>
            <a:r>
              <a:rPr lang="de-DE" dirty="0" smtClean="0"/>
              <a:t> &amp;</a:t>
            </a:r>
            <a:r>
              <a:rPr lang="de-DE" dirty="0"/>
              <a:t> </a:t>
            </a:r>
            <a:r>
              <a:rPr lang="de-DE" dirty="0" err="1" smtClean="0"/>
              <a:t>PySpark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Nutzung der Cluster aus R und Python</a:t>
            </a:r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6337" y="3150057"/>
            <a:ext cx="4587195" cy="302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893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Theme1" id="{70312CF7-7512-4607-A000-EE610A72BC14}" vid="{0440EA53-1AA7-45AC-B0A0-AC2B07CB37AF}"/>
    </a:ext>
  </a:extLst>
</a:theme>
</file>

<file path=ppt/theme/theme2.xml><?xml version="1.0" encoding="utf-8"?>
<a:theme xmlns:a="http://schemas.openxmlformats.org/drawingml/2006/main" name="1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3.xml><?xml version="1.0" encoding="utf-8"?>
<a:theme xmlns:a="http://schemas.openxmlformats.org/drawingml/2006/main" name="2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4.xml><?xml version="1.0" encoding="utf-8"?>
<a:theme xmlns:a="http://schemas.openxmlformats.org/drawingml/2006/main" name="3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5.xml><?xml version="1.0" encoding="utf-8"?>
<a:theme xmlns:a="http://schemas.openxmlformats.org/drawingml/2006/main" name="4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CustomMKOP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KProdID">
    <vt:lpwstr>ZMExtensions</vt:lpwstr>
  </property>
  <property fmtid="{D5CDD505-2E9C-101B-9397-08002B2CF9AE}" pid="3" name="SizeBefore">
    <vt:lpwstr>1520825</vt:lpwstr>
  </property>
  <property fmtid="{D5CDD505-2E9C-101B-9397-08002B2CF9AE}" pid="4" name="OptimizationTime">
    <vt:lpwstr>20171027_1444</vt:lpwstr>
  </property>
</Properties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0</TotalTime>
  <Words>228</Words>
  <Application>Microsoft Office PowerPoint</Application>
  <PresentationFormat>A4 Paper (210x297 mm)</PresentationFormat>
  <Paragraphs>39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EYInterstate</vt:lpstr>
      <vt:lpstr>Theme1</vt:lpstr>
      <vt:lpstr>1_EY regular presentation 2015 v1</vt:lpstr>
      <vt:lpstr>2_EY regular presentation 2015 v1</vt:lpstr>
      <vt:lpstr>3_EY regular presentation 2015 v1</vt:lpstr>
      <vt:lpstr>4_EY regular presentation 2015 v1</vt:lpstr>
      <vt:lpstr>think-cell Slide</vt:lpstr>
      <vt:lpstr>Datahandling mit großen Datenmengen</vt:lpstr>
      <vt:lpstr>Computercluster</vt:lpstr>
      <vt:lpstr>Hadoop</vt:lpstr>
      <vt:lpstr>Spark</vt:lpstr>
      <vt:lpstr>Spark</vt:lpstr>
      <vt:lpstr>SparkR &amp; PySpark </vt:lpstr>
    </vt:vector>
  </TitlesOfParts>
  <Company>E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klas Hagemann</dc:creator>
  <cp:lastModifiedBy>Niklas Hagemann</cp:lastModifiedBy>
  <cp:revision>16</cp:revision>
  <dcterms:created xsi:type="dcterms:W3CDTF">2017-10-20T12:39:06Z</dcterms:created>
  <dcterms:modified xsi:type="dcterms:W3CDTF">2017-10-23T11:40:13Z</dcterms:modified>
</cp:coreProperties>
</file>